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9"/>
  </p:notesMasterIdLst>
  <p:sldIdLst>
    <p:sldId id="264" r:id="rId2"/>
    <p:sldId id="256" r:id="rId3"/>
    <p:sldId id="257" r:id="rId4"/>
    <p:sldId id="258" r:id="rId5"/>
    <p:sldId id="259" r:id="rId6"/>
    <p:sldId id="260" r:id="rId7"/>
    <p:sldId id="262" r:id="rId8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1B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671" autoAdjust="0"/>
  </p:normalViewPr>
  <p:slideViewPr>
    <p:cSldViewPr>
      <p:cViewPr>
        <p:scale>
          <a:sx n="66" d="100"/>
          <a:sy n="66" d="100"/>
        </p:scale>
        <p:origin x="-1284" y="-90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702FCB-5320-4436-8126-DC1048060132}" type="datetimeFigureOut">
              <a:rPr lang="fr-FR" smtClean="0"/>
              <a:t>04/12/201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1C0A76-BAEC-466F-A01C-C7A1691BB19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83129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C0A76-BAEC-466F-A01C-C7A1691BB19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1646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/>
          <p:cNvSpPr/>
          <p:nvPr userDrawn="1"/>
        </p:nvSpPr>
        <p:spPr>
          <a:xfrm>
            <a:off x="-3175" y="3175"/>
            <a:ext cx="9150350" cy="611505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4000" y="701552"/>
            <a:ext cx="8316000" cy="4985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>
          <a:xfrm>
            <a:off x="0" y="1681163"/>
            <a:ext cx="5000625" cy="533400"/>
          </a:xfr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0" indent="0">
              <a:buFont typeface="Arial" panose="020B0604020202020204" pitchFamily="34" charset="0"/>
              <a:buNone/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/>
          </p:nvPr>
        </p:nvSpPr>
        <p:spPr>
          <a:xfrm>
            <a:off x="3175" y="2319977"/>
            <a:ext cx="4997150" cy="525886"/>
          </a:xfr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216000" indent="-216000">
              <a:buNone/>
              <a:defRPr lang="de-DE" sz="2000" smtClean="0">
                <a:solidFill>
                  <a:schemeClr val="accent2">
                    <a:lumMod val="75000"/>
                  </a:schemeClr>
                </a:solidFill>
              </a:defRPr>
            </a:lvl1pPr>
            <a:lvl2pPr>
              <a:defRPr lang="de-DE" smtClean="0">
                <a:solidFill>
                  <a:schemeClr val="lt1"/>
                </a:solidFill>
              </a:defRPr>
            </a:lvl2pPr>
            <a:lvl3pPr>
              <a:defRPr lang="de-DE" smtClean="0">
                <a:solidFill>
                  <a:schemeClr val="lt1"/>
                </a:solidFill>
              </a:defRPr>
            </a:lvl3pPr>
            <a:lvl4pPr>
              <a:defRPr lang="de-DE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CB4B7-0D9B-427E-ADE6-46F4BC86A298}" type="slidenum">
              <a:rPr lang="en-US">
                <a:solidFill>
                  <a:srgbClr val="CCCCCC"/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CCCC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1927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7442" y="6093296"/>
            <a:ext cx="2025000" cy="84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430DBB-9FD5-43E7-88F1-55A569E9525E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36665-E7E9-4861-9ADF-F11A47CBAD79}" type="slidenum">
              <a:rPr lang="nl-BE" smtClean="0"/>
              <a:t>‹N°›</a:t>
            </a:fld>
            <a:endParaRPr lang="nl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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-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pn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jpg"/><Relationship Id="rId4" Type="http://schemas.openxmlformats.org/officeDocument/2006/relationships/image" Target="../media/image3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jpg"/><Relationship Id="rId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2850420"/>
            <a:ext cx="2857500" cy="165735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2850420"/>
            <a:ext cx="2857500" cy="1657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2850420"/>
            <a:ext cx="2857500" cy="1657350"/>
          </a:xfrm>
          <a:prstGeom prst="rect">
            <a:avLst/>
          </a:prstGeom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61ECB4B7-0D9B-427E-ADE6-46F4BC86A298}" type="slidenum">
              <a:rPr lang="en-US" smtClean="0">
                <a:solidFill>
                  <a:srgbClr val="CCCCCC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CCCCCC"/>
              </a:solidFill>
            </a:endParaRPr>
          </a:p>
        </p:txBody>
      </p:sp>
      <p:sp>
        <p:nvSpPr>
          <p:cNvPr id="6" name="Titre 1"/>
          <p:cNvSpPr txBox="1">
            <a:spLocks/>
          </p:cNvSpPr>
          <p:nvPr/>
        </p:nvSpPr>
        <p:spPr bwMode="auto">
          <a:xfrm>
            <a:off x="45543" y="1301905"/>
            <a:ext cx="8964488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Le Club jumbo</a:t>
            </a:r>
          </a:p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Waterman </a:t>
            </a:r>
            <a:r>
              <a:rPr lang="fr-FR" sz="4000" b="1" dirty="0" err="1" smtClean="0">
                <a:solidFill>
                  <a:srgbClr val="B91B62"/>
                </a:solidFill>
                <a:ea typeface="+mn-ea"/>
                <a:cs typeface="+mn-cs"/>
              </a:rPr>
              <a:t>Supetrus</a:t>
            </a:r>
            <a:endParaRPr lang="fr-FR" sz="4000" b="1" dirty="0">
              <a:solidFill>
                <a:srgbClr val="B91B62"/>
              </a:solidFill>
              <a:ea typeface="+mn-ea"/>
              <a:cs typeface="+mn-cs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9500" y="5252921"/>
            <a:ext cx="2025000" cy="84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02484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34175"/>
          <a:chOff x="238125" y="152400"/>
          <a:chExt cx="8953500" cy="6734175"/>
        </a:xfrm>
      </p:grpSpPr>
      <p:pic>
        <p:nvPicPr>
          <p:cNvPr id="22" name="Image 2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46007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Waterman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Supetrus</a:t>
            </a:r>
            <a:endParaRPr sz="3000" b="1" i="0" u="none" strike="noStrike" dirty="0">
              <a:solidFill>
                <a:srgbClr val="B91B62"/>
              </a:solidFill>
              <a:latin typeface="+mj-lt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238125" y="2362200"/>
            <a:ext cx="8715375" cy="71437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L'hôtel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-club Waterma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petru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Resort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es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itu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environnemen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naturel,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irectemen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bell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galet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bordé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pins et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'olivier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307657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L’hébergement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qu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us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ulez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3448050"/>
            <a:ext cx="4438650" cy="1343025"/>
          </a:xfrm>
          <a:prstGeom prst="rect">
            <a:avLst/>
          </a:prstGeom>
        </p:spPr>
        <p:txBody>
          <a:bodyPr lIns="91440" tIns="45720" rIns="91440" bIns="45720" rtlCol="0">
            <a:normAutofit fontScale="65000" lnSpcReduction="20000"/>
          </a:bodyPr>
          <a:lstStyle/>
          <a:p>
            <a:pPr marL="0" marR="0" lvl="0" indent="0" algn="l" fontAlgn="base"/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420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parti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mplex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1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âtime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ou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all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i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che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èche-cheveux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TV satellite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limatisa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élépho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ff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ya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lc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errass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Ch. doubles (22 m², max. 2 ad. et 1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avec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'appoi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A, 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D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Nomb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imit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.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à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arif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romotionnel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22 m², max. 2 ad. - type S). Suites junior (26 m², max. 2 ad.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avec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'appoi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B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famill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mpos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.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ort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mmunicant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de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all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i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max. 2 ad.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 ad. et 1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- type G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famill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ria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mpos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all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i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ez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-de-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jardi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errass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4 ad.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- type F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).</a:t>
            </a:r>
            <a:r>
              <a:rPr lang="fr-FR" sz="16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endParaRPr sz="1600" b="0" i="0" u="none" strike="noStrike" dirty="0">
              <a:solidFill>
                <a:srgbClr val="6C6F70"/>
              </a:solidFill>
              <a:latin typeface="Calibri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3" name="ZoneTexte 12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Ce qui change tout :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lvl="0" fontAlgn="base"/>
            <a:r>
              <a:rPr lang="fr-FR" sz="1200" b="1" dirty="0">
                <a:solidFill>
                  <a:srgbClr val="6C6F70"/>
                </a:solidFill>
              </a:rPr>
              <a:t>Son parc et sa végétation luxuriante</a:t>
            </a:r>
          </a:p>
          <a:p>
            <a:pPr lvl="0" fontAlgn="base"/>
            <a:r>
              <a:rPr lang="fr-FR" sz="1200" b="1" dirty="0">
                <a:solidFill>
                  <a:srgbClr val="6C6F70"/>
                </a:solidFill>
              </a:rPr>
              <a:t>La proximité du ravissant village de </a:t>
            </a:r>
            <a:r>
              <a:rPr lang="fr-FR" sz="1200" b="1" dirty="0" err="1">
                <a:solidFill>
                  <a:srgbClr val="6C6F70"/>
                </a:solidFill>
              </a:rPr>
              <a:t>Supetar</a:t>
            </a:r>
            <a:endParaRPr lang="fr-FR" sz="1200" b="1" dirty="0">
              <a:solidFill>
                <a:srgbClr val="6C6F70"/>
              </a:solidFill>
            </a:endParaRPr>
          </a:p>
          <a:p>
            <a:pPr lvl="0" fontAlgn="base"/>
            <a:r>
              <a:rPr lang="fr-FR" sz="1200" b="1" dirty="0">
                <a:solidFill>
                  <a:srgbClr val="6C6F70"/>
                </a:solidFill>
              </a:rPr>
              <a:t>Son cadre enchanteur </a:t>
            </a:r>
            <a:endParaRPr sz="1200" b="1" i="0" u="none" strike="noStrike" dirty="0">
              <a:solidFill>
                <a:srgbClr val="6C6F70"/>
              </a:solidFill>
              <a:latin typeface="Calibri"/>
            </a:endParaRP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6" name="Image 1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Waterman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Supetrus</a:t>
            </a:r>
            <a:endParaRPr sz="3000" b="1" i="0" u="none" strike="noStrike" dirty="0">
              <a:solidFill>
                <a:srgbClr val="B91B62"/>
              </a:solidFill>
              <a:latin typeface="+mj-lt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a restauration que vous aim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3438525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marL="0" marR="0" lvl="0" indent="0" algn="just" fontAlgn="base"/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Formule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Tout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compris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endParaRPr lang="fr-FR" sz="16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endParaRPr lang="fr-FR" sz="1600" b="1" dirty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600" i="0" u="none" strike="noStrike" dirty="0" smtClean="0">
                <a:solidFill>
                  <a:srgbClr val="6C6F70"/>
                </a:solidFill>
                <a:latin typeface="Calibri"/>
              </a:rPr>
              <a:t>A votre disposition:</a:t>
            </a:r>
          </a:p>
          <a:p>
            <a:pPr marL="285750" marR="0" lvl="0" indent="-285750" algn="just" fontAlgn="base">
              <a:buFontTx/>
              <a:buChar char="-"/>
            </a:pP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Un 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restaurant </a:t>
            </a: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buffets</a:t>
            </a:r>
            <a:endParaRPr lang="fr-FR" sz="1600" dirty="0" smtClean="0">
              <a:solidFill>
                <a:srgbClr val="6C6F70"/>
              </a:solidFill>
              <a:latin typeface="Calibri"/>
            </a:endParaRPr>
          </a:p>
          <a:p>
            <a:pPr marL="285750" marR="0" lvl="0" indent="-285750" algn="just" fontAlgn="base">
              <a:buFontTx/>
              <a:buChar char="-"/>
            </a:pPr>
            <a:r>
              <a:rPr lang="fr-FR" sz="1600" dirty="0" smtClean="0">
                <a:solidFill>
                  <a:srgbClr val="6C6F70"/>
                </a:solidFill>
                <a:latin typeface="Calibri"/>
              </a:rPr>
              <a:t>U</a:t>
            </a: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n </a:t>
            </a:r>
            <a:r>
              <a:rPr lang="fr-FR" sz="1600" i="0" u="none" strike="noStrike" dirty="0" smtClean="0">
                <a:solidFill>
                  <a:srgbClr val="6C6F70"/>
                </a:solidFill>
                <a:latin typeface="Calibri"/>
              </a:rPr>
              <a:t>restaurant </a:t>
            </a: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à 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la carte (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réservation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, avec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supplément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). </a:t>
            </a:r>
            <a:endParaRPr lang="fr-FR" sz="16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285750" marR="0" lvl="0" indent="-285750" algn="just" fontAlgn="base">
              <a:buFontTx/>
              <a:buChar char="-"/>
            </a:pP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3 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bars.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8025" y="178718"/>
            <a:ext cx="2857500" cy="1657350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184" y="178718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9" name="Picture 6" descr="D:\Doc\ELDO\supe (4)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033" y="152883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Waterman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Supetrus</a:t>
            </a:r>
            <a:endParaRPr sz="3000" b="1" i="0" u="none" strike="noStrike" dirty="0">
              <a:solidFill>
                <a:srgbClr val="B91B62"/>
              </a:solidFill>
              <a:latin typeface="+mj-lt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services dont vous dispos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285750" marR="0" lvl="0" indent="-285750" algn="just" fontAlgn="base">
              <a:buFontTx/>
              <a:buChar char="-"/>
            </a:pPr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Wi-fi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gratui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les parties communes et 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,</a:t>
            </a:r>
            <a:endParaRPr lang="fr-FR" sz="16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285750" indent="-285750" algn="just" fontAlgn="base">
              <a:buFontTx/>
              <a:buChar char="-"/>
            </a:pPr>
            <a:r>
              <a:rPr lang="fr-FR" sz="1600" dirty="0">
                <a:solidFill>
                  <a:srgbClr val="6C6F70"/>
                </a:solidFill>
              </a:rPr>
              <a:t>Salon de coiffure/beauté, </a:t>
            </a:r>
          </a:p>
          <a:p>
            <a:pPr marL="285750" marR="0" lvl="0" indent="-285750" algn="just" fontAlgn="base">
              <a:buFontTx/>
              <a:buChar char="-"/>
            </a:pPr>
            <a:r>
              <a:rPr lang="fr-FR" sz="1600" b="0" i="0" u="none" strike="noStrike" dirty="0" smtClean="0">
                <a:solidFill>
                  <a:srgbClr val="6C6F70"/>
                </a:solidFill>
                <a:latin typeface="Calibri"/>
              </a:rPr>
              <a:t>B</a:t>
            </a:r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lanchisserie</a:t>
            </a:r>
            <a:r>
              <a:rPr lang="fr-FR" sz="1600" dirty="0" smtClean="0">
                <a:solidFill>
                  <a:srgbClr val="6C6F70"/>
                </a:solidFill>
                <a:latin typeface="Calibri"/>
              </a:rPr>
              <a:t>,</a:t>
            </a:r>
          </a:p>
          <a:p>
            <a:pPr marL="285750" indent="-285750" algn="just" fontAlgn="base">
              <a:buFontTx/>
              <a:buChar char="-"/>
            </a:pPr>
            <a:r>
              <a:rPr lang="fr-FR" sz="1600" dirty="0" smtClean="0">
                <a:solidFill>
                  <a:srgbClr val="6C6F70"/>
                </a:solidFill>
              </a:rPr>
              <a:t>Boutique</a:t>
            </a:r>
            <a:r>
              <a:rPr lang="fr-FR" sz="1600" dirty="0">
                <a:solidFill>
                  <a:srgbClr val="6C6F70"/>
                </a:solidFill>
              </a:rPr>
              <a:t>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E74F9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Bon à savoir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all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onférenc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ouvan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cueilli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jusqu'à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120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ersonn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</a:t>
            </a:r>
            <a:r>
              <a:rPr dirty="0"/>
              <a:t/>
            </a:r>
            <a:br>
              <a:rPr dirty="0"/>
            </a:b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nimaux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no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cepté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 Temps d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ransfer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: environ 1h45 (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utoca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+ ferry).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7" name="Imag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2348" y="3467100"/>
            <a:ext cx="4064478" cy="2695575"/>
          </a:xfrm>
          <a:prstGeom prst="rect">
            <a:avLst/>
          </a:prstGeom>
        </p:spPr>
      </p:pic>
      <p:pic>
        <p:nvPicPr>
          <p:cNvPr id="14" name="Picture 2" descr="D:\Doc\ELDO\supe (5)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280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Waterman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Supetrus</a:t>
            </a:r>
            <a:endParaRPr sz="3000" b="1" i="0" u="none" strike="noStrike" dirty="0">
              <a:solidFill>
                <a:srgbClr val="B91B62"/>
              </a:solidFill>
              <a:latin typeface="+mj-lt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Pour vos enfants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2762250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marL="0" marR="0" lvl="0" indent="0" algn="just" fontAlgn="base"/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Miniclub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(4 à 12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) et Club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Ado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(13 à 17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) : </a:t>
            </a:r>
            <a:endParaRPr lang="fr-FR" sz="14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400" i="0" u="none" strike="noStrike" dirty="0" smtClean="0">
                <a:solidFill>
                  <a:srgbClr val="6C6F70"/>
                </a:solidFill>
                <a:latin typeface="Calibri"/>
              </a:rPr>
              <a:t>N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otre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équipe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accueille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vos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enfants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pendant les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vacances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scolaires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6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jours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/7 de 9h30 à 12h30 et de 14h30 à 17h30 et les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ados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en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juillet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et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août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de 10h à 13h et de 15h à 18h et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leur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propose un large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programme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d'activités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ludiques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,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sportives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 et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manuelles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endParaRPr lang="fr-FR" sz="14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
À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otr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isposition :  </a:t>
            </a:r>
            <a:endParaRPr lang="fr-FR" sz="14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2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piscine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pour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air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, animation (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divers,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portive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ludique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, spectacle,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minidisco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). Chaises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haute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
</a:t>
            </a:r>
            <a:endParaRPr lang="fr-FR" sz="14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Avec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pplémen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: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lit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bébé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033" y="152883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Waterman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Supetrus</a:t>
            </a:r>
            <a:endParaRPr sz="3000" b="1" i="0" u="none" strike="noStrike" dirty="0">
              <a:solidFill>
                <a:srgbClr val="B91B62"/>
              </a:solidFill>
              <a:latin typeface="+mj-lt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'Ambiance et le sport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marL="0" marR="0" lvl="0" indent="0" algn="just" fontAlgn="base"/>
            <a:r>
              <a:rPr sz="1200" b="0" i="0" u="none" strike="noStrike" dirty="0" err="1">
                <a:solidFill>
                  <a:srgbClr val="6C6F70"/>
                </a:solidFill>
              </a:rPr>
              <a:t>Profitez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d’une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équipe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d’animation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qualifiée</a:t>
            </a:r>
            <a:r>
              <a:rPr sz="1200" b="0" i="0" u="none" strike="noStrike" dirty="0">
                <a:solidFill>
                  <a:srgbClr val="6C6F70"/>
                </a:solidFill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nos</a:t>
            </a:r>
            <a:r>
              <a:rPr sz="1200" b="0" i="0" u="none" strike="noStrike" dirty="0">
                <a:solidFill>
                  <a:srgbClr val="6C6F70"/>
                </a:solidFill>
              </a:rPr>
              <a:t> J’s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francophones</a:t>
            </a:r>
            <a:r>
              <a:rPr sz="1200" b="0" i="0" u="none" strike="noStrike" dirty="0">
                <a:solidFill>
                  <a:srgbClr val="6C6F70"/>
                </a:solidFill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internationaux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rythmeront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vos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journées</a:t>
            </a:r>
            <a:r>
              <a:rPr sz="1200" b="0" i="0" u="none" strike="noStrike" dirty="0">
                <a:solidFill>
                  <a:srgbClr val="6C6F70"/>
                </a:solidFill>
              </a:rPr>
              <a:t> et soirées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autour</a:t>
            </a:r>
            <a:r>
              <a:rPr sz="1200" b="0" i="0" u="none" strike="noStrike" dirty="0">
                <a:solidFill>
                  <a:srgbClr val="6C6F70"/>
                </a:solidFill>
              </a:rPr>
              <a:t> d’un large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programme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d’activités</a:t>
            </a:r>
            <a:r>
              <a:rPr sz="1200" b="0" i="0" u="none" strike="noStrike" dirty="0">
                <a:solidFill>
                  <a:srgbClr val="6C6F70"/>
                </a:solidFill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d’événements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ludiques</a:t>
            </a:r>
            <a:r>
              <a:rPr sz="1200" b="0" i="0" u="none" strike="noStrike" dirty="0">
                <a:solidFill>
                  <a:srgbClr val="6C6F70"/>
                </a:solidFill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sportifs</a:t>
            </a:r>
            <a:r>
              <a:rPr sz="1200" b="0" i="0" u="none" strike="noStrike" dirty="0">
                <a:solidFill>
                  <a:srgbClr val="6C6F70"/>
                </a:solidFill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culturels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dans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une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atmosphère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décontractée</a:t>
            </a:r>
            <a:r>
              <a:rPr sz="1200" b="0" i="0" u="none" strike="noStrike" dirty="0">
                <a:solidFill>
                  <a:srgbClr val="6C6F70"/>
                </a:solidFill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conviviale</a:t>
            </a:r>
            <a:r>
              <a:rPr sz="1200" b="0" i="0" u="none" strike="noStrike" dirty="0">
                <a:solidFill>
                  <a:srgbClr val="6C6F70"/>
                </a:solidFill>
              </a:rPr>
              <a:t>. Au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programme</a:t>
            </a:r>
            <a:r>
              <a:rPr sz="1200" b="0" i="0" u="none" strike="noStrike" dirty="0">
                <a:solidFill>
                  <a:srgbClr val="6C6F70"/>
                </a:solidFill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tournois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sportifs</a:t>
            </a:r>
            <a:r>
              <a:rPr sz="1200" b="0" i="0" u="none" strike="noStrike" dirty="0">
                <a:solidFill>
                  <a:srgbClr val="6C6F70"/>
                </a:solidFill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jeux</a:t>
            </a:r>
            <a:r>
              <a:rPr sz="1200" b="0" i="0" u="none" strike="noStrike" dirty="0">
                <a:solidFill>
                  <a:srgbClr val="6C6F70"/>
                </a:solidFill>
              </a:rPr>
              <a:t> piscine,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Jumb’apéro</a:t>
            </a:r>
            <a:r>
              <a:rPr sz="1200" b="0" i="0" u="none" strike="noStrike" dirty="0">
                <a:solidFill>
                  <a:srgbClr val="6C6F70"/>
                </a:solidFill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balades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pédestres</a:t>
            </a:r>
            <a:r>
              <a:rPr sz="1200" b="0" i="0" u="none" strike="noStrike" dirty="0">
                <a:solidFill>
                  <a:srgbClr val="6C6F70"/>
                </a:solidFill>
              </a:rPr>
              <a:t>, soirées à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thème</a:t>
            </a:r>
            <a:r>
              <a:rPr sz="1200" b="0" i="0" u="none" strike="noStrike" dirty="0">
                <a:solidFill>
                  <a:srgbClr val="6C6F70"/>
                </a:solidFill>
              </a:rPr>
              <a:t>… On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vous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réserve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plein</a:t>
            </a:r>
            <a:r>
              <a:rPr sz="1200" b="0" i="0" u="none" strike="noStrike" dirty="0">
                <a:solidFill>
                  <a:srgbClr val="6C6F70"/>
                </a:solidFill>
              </a:rPr>
              <a:t> de surprises… </a:t>
            </a:r>
            <a:r>
              <a:rPr sz="1200" b="0" i="0" u="none" strike="noStrike" dirty="0" err="1" smtClean="0">
                <a:solidFill>
                  <a:srgbClr val="6C6F70"/>
                </a:solidFill>
              </a:rPr>
              <a:t>N’oubliez</a:t>
            </a:r>
            <a:r>
              <a:rPr sz="1200" b="0" i="0" u="none" strike="noStrike" dirty="0" smtClean="0">
                <a:solidFill>
                  <a:srgbClr val="6C6F70"/>
                </a:solidFill>
              </a:rPr>
              <a:t> </a:t>
            </a:r>
            <a:r>
              <a:rPr sz="1200" b="0" i="0" u="none" strike="noStrike" dirty="0">
                <a:solidFill>
                  <a:srgbClr val="6C6F70"/>
                </a:solidFill>
              </a:rPr>
              <a:t>pas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votre</a:t>
            </a:r>
            <a:r>
              <a:rPr sz="1200" b="0" i="0" u="none" strike="noStrike" dirty="0">
                <a:solidFill>
                  <a:srgbClr val="6C6F70"/>
                </a:solidFill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</a:rPr>
              <a:t>tenue</a:t>
            </a:r>
            <a:r>
              <a:rPr sz="1200" b="0" i="0" u="none" strike="noStrike" dirty="0">
                <a:solidFill>
                  <a:srgbClr val="6C6F70"/>
                </a:solidFill>
              </a:rPr>
              <a:t> blanche et rose pour la soirée Pink is beautiful</a:t>
            </a:r>
            <a:r>
              <a:rPr sz="1200" b="0" i="0" u="none" strike="noStrike" dirty="0" smtClean="0">
                <a:solidFill>
                  <a:srgbClr val="6C6F70"/>
                </a:solidFill>
              </a:rPr>
              <a:t>.</a:t>
            </a:r>
            <a:endParaRPr lang="fr-FR" sz="1200" b="0" i="0" u="none" strike="noStrike" dirty="0" smtClean="0">
              <a:solidFill>
                <a:srgbClr val="6C6F70"/>
              </a:solidFill>
            </a:endParaRPr>
          </a:p>
          <a:p>
            <a:pPr marL="0" marR="0" lvl="0" indent="0" algn="just" fontAlgn="base"/>
            <a:r>
              <a:rPr sz="1200" b="1" i="0" u="none" strike="noStrike" dirty="0" err="1" smtClean="0">
                <a:solidFill>
                  <a:srgbClr val="6C6F70"/>
                </a:solidFill>
              </a:rPr>
              <a:t>Théâtre</a:t>
            </a:r>
            <a:r>
              <a:rPr sz="1200" b="1" i="0" u="none" strike="noStrike" dirty="0" smtClean="0">
                <a:solidFill>
                  <a:srgbClr val="6C6F70"/>
                </a:solidFill>
              </a:rPr>
              <a:t> </a:t>
            </a:r>
            <a:r>
              <a:rPr sz="1200" b="1" i="0" u="none" strike="noStrike" dirty="0">
                <a:solidFill>
                  <a:srgbClr val="6C6F70"/>
                </a:solidFill>
              </a:rPr>
              <a:t>en </a:t>
            </a:r>
            <a:r>
              <a:rPr sz="1200" b="1" i="0" u="none" strike="noStrike" dirty="0" err="1">
                <a:solidFill>
                  <a:srgbClr val="6C6F70"/>
                </a:solidFill>
              </a:rPr>
              <a:t>plein</a:t>
            </a:r>
            <a:r>
              <a:rPr sz="1200" b="1" i="0" u="none" strike="noStrike" dirty="0">
                <a:solidFill>
                  <a:srgbClr val="6C6F70"/>
                </a:solidFill>
              </a:rPr>
              <a:t> air pour les spectacles nocturnes en </a:t>
            </a:r>
            <a:r>
              <a:rPr sz="1200" b="1" i="0" u="none" strike="noStrike" dirty="0" err="1">
                <a:solidFill>
                  <a:srgbClr val="6C6F70"/>
                </a:solidFill>
              </a:rPr>
              <a:t>saison</a:t>
            </a:r>
            <a:r>
              <a:rPr sz="1200" b="1" i="0" u="none" strike="noStrike" dirty="0">
                <a:solidFill>
                  <a:srgbClr val="6C6F70"/>
                </a:solidFill>
              </a:rPr>
              <a:t>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activités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80000" lnSpcReduction="20000"/>
          </a:bodyPr>
          <a:lstStyle/>
          <a:p>
            <a:pPr marL="0" marR="0" lvl="0" indent="0" algn="just" fontAlgn="base"/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6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iscin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xtérieur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on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2 pour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1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réservé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aux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et 1 piscin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intérieur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fermé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u 15/06 au 15/09). Chaises et parasols à la piscine.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ubliqu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 Avec participation : chaises, parasols à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serviettes à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et à la piscine.
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érobic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stretching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quagym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minigolf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beach-volley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i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à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l'arc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tennis (1 h/jour/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hambr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). 
Avec participation : tennis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lanch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à voile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banan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jet ski, kayak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longé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Waterman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Supetrus</a:t>
            </a:r>
            <a:endParaRPr sz="3000" b="1" i="0" u="none" strike="noStrike" dirty="0">
              <a:solidFill>
                <a:srgbClr val="B91B62"/>
              </a:solidFill>
              <a:latin typeface="+mj-lt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4638675" y="2667000"/>
            <a:ext cx="4267200" cy="352425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1" name="ZoneTexte 10"/>
          <p:cNvSpPr txBox="1"/>
          <p:nvPr/>
        </p:nvSpPr>
        <p:spPr>
          <a:xfrm>
            <a:off x="4638675" y="2667000"/>
            <a:ext cx="426720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Votre formule tout compris :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4638675" y="3048000"/>
            <a:ext cx="4267200" cy="31432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Repas:</a:t>
            </a:r>
          </a:p>
          <a:p>
            <a:pPr marL="0" marR="0" lvl="0" indent="0" algn="l" fontAlgn="base"/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L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es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repa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sou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form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de buffets </a:t>
            </a:r>
            <a:r>
              <a:rPr lang="fr-FR" sz="1400" dirty="0" smtClean="0">
                <a:solidFill>
                  <a:srgbClr val="6C6F70"/>
                </a:solidFill>
                <a:latin typeface="Calibri"/>
              </a:rPr>
              <a:t>.</a:t>
            </a:r>
            <a:r>
              <a:rPr lang="fr-FR" sz="1400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Peti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déjeune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tardif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de 10h15 à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11h</a:t>
            </a:r>
            <a:r>
              <a:rPr lang="fr-FR" sz="1400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(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demande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)</a:t>
            </a:r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. 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Gâteaux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de 16h à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17h.</a:t>
            </a:r>
            <a:endParaRPr lang="fr-FR" sz="14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endParaRPr lang="fr-FR" sz="1400" dirty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Boissons:</a:t>
            </a:r>
          </a:p>
          <a:p>
            <a:pPr marL="0" marR="0" lvl="0" indent="0" algn="l" fontAlgn="base"/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B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oissons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local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lcoolisé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ou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non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lcoolisé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de 10h à 23h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endParaRPr lang="fr-FR" sz="14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endParaRPr lang="fr-FR" sz="1400" dirty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Sports &amp; loisirs:</a:t>
            </a:r>
          </a:p>
          <a:p>
            <a:pPr marL="0" marR="0" lvl="0" indent="0" algn="l" fontAlgn="base"/>
            <a:r>
              <a:rPr lang="fr-FR" sz="1400" dirty="0" smtClean="0">
                <a:solidFill>
                  <a:srgbClr val="6C6F70"/>
                </a:solidFill>
                <a:latin typeface="Calibri"/>
              </a:rPr>
              <a:t>Voir </a:t>
            </a:r>
            <a:r>
              <a:rPr lang="fr-FR" sz="1400" dirty="0" err="1" smtClean="0">
                <a:solidFill>
                  <a:srgbClr val="6C6F70"/>
                </a:solidFill>
                <a:latin typeface="Calibri"/>
              </a:rPr>
              <a:t>slide</a:t>
            </a:r>
            <a:r>
              <a:rPr lang="fr-FR" sz="1400" dirty="0" smtClean="0">
                <a:solidFill>
                  <a:srgbClr val="6C6F70"/>
                </a:solidFill>
                <a:latin typeface="Calibri"/>
              </a:rPr>
              <a:t> dédié</a:t>
            </a:r>
          </a:p>
          <a:p>
            <a:pPr marL="0" marR="0" lvl="0" indent="0" algn="l" fontAlgn="base"/>
            <a:endParaRPr lang="fr-FR" sz="1400" b="0" i="0" u="none" strike="noStrike" dirty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r>
              <a:rPr lang="fr-FR" sz="1400" b="1" dirty="0" smtClean="0">
                <a:solidFill>
                  <a:srgbClr val="6C6F70"/>
                </a:solidFill>
                <a:latin typeface="Calibri"/>
              </a:rPr>
              <a:t>Clubs: </a:t>
            </a:r>
          </a:p>
          <a:p>
            <a:pPr marL="0" marR="0" lvl="0" indent="0" algn="l" fontAlgn="base"/>
            <a:r>
              <a:rPr lang="fr-FR" sz="1400" dirty="0" smtClean="0">
                <a:solidFill>
                  <a:srgbClr val="6C6F70"/>
                </a:solidFill>
                <a:latin typeface="Calibri"/>
              </a:rPr>
              <a:t>Pour enfants &amp; ados</a:t>
            </a:r>
            <a:endParaRPr sz="1400" b="0" i="0" u="none" strike="noStrike" dirty="0">
              <a:solidFill>
                <a:srgbClr val="6C6F70"/>
              </a:solidFill>
              <a:latin typeface="Calibr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2</Words>
  <Application>Microsoft Office PowerPoint</Application>
  <PresentationFormat>Affichage à l'écran (4:3)</PresentationFormat>
  <Paragraphs>54</Paragraphs>
  <Slides>7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9" baseType="lpstr">
      <vt:lpstr>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icrosof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</dc:title>
  <dc:subject>PowerPoint</dc:subject>
  <dc:creator>SYSPAD_TC COMPOS-JULIOT</dc:creator>
  <cp:keywords>PowerPoint</cp:keywords>
  <dc:description>PowerPoint</dc:description>
  <cp:lastModifiedBy>Gabaud, Alexandra</cp:lastModifiedBy>
  <cp:revision>25</cp:revision>
  <dcterms:created xsi:type="dcterms:W3CDTF">2015-03-17T08:15:50Z</dcterms:created>
  <dcterms:modified xsi:type="dcterms:W3CDTF">2015-12-04T10:09:25Z</dcterms:modified>
  <cp:category>PowerPoint</cp:category>
</cp:coreProperties>
</file>